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8" r:id="rId6"/>
    <p:sldId id="272" r:id="rId7"/>
    <p:sldId id="273" r:id="rId8"/>
    <p:sldId id="274" r:id="rId9"/>
    <p:sldId id="275" r:id="rId10"/>
    <p:sldId id="276" r:id="rId11"/>
    <p:sldId id="277" r:id="rId12"/>
    <p:sldId id="279" r:id="rId13"/>
    <p:sldId id="280" r:id="rId14"/>
    <p:sldId id="281" r:id="rId15"/>
    <p:sldId id="282" r:id="rId16"/>
    <p:sldId id="283" r:id="rId17"/>
    <p:sldId id="284" r:id="rId18"/>
    <p:sldId id="287" r:id="rId19"/>
    <p:sldId id="285" r:id="rId20"/>
    <p:sldId id="288" r:id="rId21"/>
    <p:sldId id="289" r:id="rId22"/>
    <p:sldId id="290" r:id="rId23"/>
  </p:sldIdLst>
  <p:sldSz cx="12188825" cy="6858000"/>
  <p:notesSz cx="6858000" cy="9144000"/>
  <p:custDataLst>
    <p:tags r:id="rId26"/>
  </p:custDataLst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3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551C47-7FBE-40C6-93AC-945A310AB6D6}" v="2874" dt="2021-05-03T13:48:20.1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492" autoAdjust="0"/>
  </p:normalViewPr>
  <p:slideViewPr>
    <p:cSldViewPr>
      <p:cViewPr varScale="1">
        <p:scale>
          <a:sx n="105" d="100"/>
          <a:sy n="105" d="100"/>
        </p:scale>
        <p:origin x="144" y="594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63" d="100"/>
          <a:sy n="63" d="100"/>
        </p:scale>
        <p:origin x="1986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la, Matt (Rivervale) AUS" userId="7f0b4c79-970d-4dba-9fca-4c69ccb8f27c" providerId="ADAL" clId="{F4551C47-7FBE-40C6-93AC-945A310AB6D6}"/>
    <pc:docChg chg="undo custSel addSld delSld modSld">
      <pc:chgData name="Vella, Matt (Rivervale) AUS" userId="7f0b4c79-970d-4dba-9fca-4c69ccb8f27c" providerId="ADAL" clId="{F4551C47-7FBE-40C6-93AC-945A310AB6D6}" dt="2021-05-03T13:48:10.276" v="5016" actId="20577"/>
      <pc:docMkLst>
        <pc:docMk/>
      </pc:docMkLst>
      <pc:sldChg chg="modSp mod">
        <pc:chgData name="Vella, Matt (Rivervale) AUS" userId="7f0b4c79-970d-4dba-9fca-4c69ccb8f27c" providerId="ADAL" clId="{F4551C47-7FBE-40C6-93AC-945A310AB6D6}" dt="2021-05-03T13:34:21.463" v="3914" actId="20577"/>
        <pc:sldMkLst>
          <pc:docMk/>
          <pc:sldMk cId="295116734" sldId="272"/>
        </pc:sldMkLst>
        <pc:spChg chg="mod">
          <ac:chgData name="Vella, Matt (Rivervale) AUS" userId="7f0b4c79-970d-4dba-9fca-4c69ccb8f27c" providerId="ADAL" clId="{F4551C47-7FBE-40C6-93AC-945A310AB6D6}" dt="2021-05-03T13:34:21.463" v="3914" actId="20577"/>
          <ac:spMkLst>
            <pc:docMk/>
            <pc:sldMk cId="295116734" sldId="272"/>
            <ac:spMk id="6" creationId="{00000000-0000-0000-0000-000000000000}"/>
          </ac:spMkLst>
        </pc:spChg>
      </pc:sldChg>
      <pc:sldChg chg="del">
        <pc:chgData name="Vella, Matt (Rivervale) AUS" userId="7f0b4c79-970d-4dba-9fca-4c69ccb8f27c" providerId="ADAL" clId="{F4551C47-7FBE-40C6-93AC-945A310AB6D6}" dt="2021-05-03T12:05:58.389" v="170" actId="47"/>
        <pc:sldMkLst>
          <pc:docMk/>
          <pc:sldMk cId="2480766269" sldId="278"/>
        </pc:sldMkLst>
      </pc:sldChg>
      <pc:sldChg chg="delSp modSp add mod">
        <pc:chgData name="Vella, Matt (Rivervale) AUS" userId="7f0b4c79-970d-4dba-9fca-4c69ccb8f27c" providerId="ADAL" clId="{F4551C47-7FBE-40C6-93AC-945A310AB6D6}" dt="2021-05-03T12:06:09.530" v="174" actId="20577"/>
        <pc:sldMkLst>
          <pc:docMk/>
          <pc:sldMk cId="1745057434" sldId="280"/>
        </pc:sldMkLst>
        <pc:spChg chg="mod">
          <ac:chgData name="Vella, Matt (Rivervale) AUS" userId="7f0b4c79-970d-4dba-9fca-4c69ccb8f27c" providerId="ADAL" clId="{F4551C47-7FBE-40C6-93AC-945A310AB6D6}" dt="2021-05-03T12:06:09.530" v="174" actId="20577"/>
          <ac:spMkLst>
            <pc:docMk/>
            <pc:sldMk cId="1745057434" sldId="280"/>
            <ac:spMk id="6" creationId="{00000000-0000-0000-0000-000000000000}"/>
          </ac:spMkLst>
        </pc:spChg>
        <pc:spChg chg="del">
          <ac:chgData name="Vella, Matt (Rivervale) AUS" userId="7f0b4c79-970d-4dba-9fca-4c69ccb8f27c" providerId="ADAL" clId="{F4551C47-7FBE-40C6-93AC-945A310AB6D6}" dt="2021-05-03T12:04:14.642" v="1" actId="478"/>
          <ac:spMkLst>
            <pc:docMk/>
            <pc:sldMk cId="1745057434" sldId="280"/>
            <ac:spMk id="10" creationId="{39299199-CDBF-4FB9-9FB4-FD848EE5B08E}"/>
          </ac:spMkLst>
        </pc:spChg>
        <pc:picChg chg="del">
          <ac:chgData name="Vella, Matt (Rivervale) AUS" userId="7f0b4c79-970d-4dba-9fca-4c69ccb8f27c" providerId="ADAL" clId="{F4551C47-7FBE-40C6-93AC-945A310AB6D6}" dt="2021-05-03T12:04:14.642" v="1" actId="478"/>
          <ac:picMkLst>
            <pc:docMk/>
            <pc:sldMk cId="1745057434" sldId="280"/>
            <ac:picMk id="4" creationId="{12DCD57C-DBE6-4192-A73F-6226433AE65B}"/>
          </ac:picMkLst>
        </pc:picChg>
      </pc:sldChg>
      <pc:sldChg chg="modSp add mod">
        <pc:chgData name="Vella, Matt (Rivervale) AUS" userId="7f0b4c79-970d-4dba-9fca-4c69ccb8f27c" providerId="ADAL" clId="{F4551C47-7FBE-40C6-93AC-945A310AB6D6}" dt="2021-05-03T12:33:07.391" v="223" actId="20577"/>
        <pc:sldMkLst>
          <pc:docMk/>
          <pc:sldMk cId="1604753561" sldId="281"/>
        </pc:sldMkLst>
        <pc:spChg chg="mod">
          <ac:chgData name="Vella, Matt (Rivervale) AUS" userId="7f0b4c79-970d-4dba-9fca-4c69ccb8f27c" providerId="ADAL" clId="{F4551C47-7FBE-40C6-93AC-945A310AB6D6}" dt="2021-05-03T12:33:07.391" v="223" actId="20577"/>
          <ac:spMkLst>
            <pc:docMk/>
            <pc:sldMk cId="1604753561" sldId="281"/>
            <ac:spMk id="6" creationId="{00000000-0000-0000-0000-000000000000}"/>
          </ac:spMkLst>
        </pc:spChg>
      </pc:sldChg>
      <pc:sldChg chg="modSp add mod">
        <pc:chgData name="Vella, Matt (Rivervale) AUS" userId="7f0b4c79-970d-4dba-9fca-4c69ccb8f27c" providerId="ADAL" clId="{F4551C47-7FBE-40C6-93AC-945A310AB6D6}" dt="2021-05-03T12:33:37.628" v="244" actId="20577"/>
        <pc:sldMkLst>
          <pc:docMk/>
          <pc:sldMk cId="3209915974" sldId="282"/>
        </pc:sldMkLst>
        <pc:spChg chg="mod">
          <ac:chgData name="Vella, Matt (Rivervale) AUS" userId="7f0b4c79-970d-4dba-9fca-4c69ccb8f27c" providerId="ADAL" clId="{F4551C47-7FBE-40C6-93AC-945A310AB6D6}" dt="2021-05-03T12:33:37.628" v="244" actId="20577"/>
          <ac:spMkLst>
            <pc:docMk/>
            <pc:sldMk cId="3209915974" sldId="282"/>
            <ac:spMk id="6" creationId="{00000000-0000-0000-0000-000000000000}"/>
          </ac:spMkLst>
        </pc:spChg>
      </pc:sldChg>
      <pc:sldChg chg="addSp delSp modSp add mod">
        <pc:chgData name="Vella, Matt (Rivervale) AUS" userId="7f0b4c79-970d-4dba-9fca-4c69ccb8f27c" providerId="ADAL" clId="{F4551C47-7FBE-40C6-93AC-945A310AB6D6}" dt="2021-05-03T12:39:24.797" v="834" actId="20577"/>
        <pc:sldMkLst>
          <pc:docMk/>
          <pc:sldMk cId="1428159415" sldId="283"/>
        </pc:sldMkLst>
        <pc:spChg chg="add del mod modVis">
          <ac:chgData name="Vella, Matt (Rivervale) AUS" userId="7f0b4c79-970d-4dba-9fca-4c69ccb8f27c" providerId="ADAL" clId="{F4551C47-7FBE-40C6-93AC-945A310AB6D6}" dt="2021-05-03T12:33:48.070" v="299"/>
          <ac:spMkLst>
            <pc:docMk/>
            <pc:sldMk cId="1428159415" sldId="283"/>
            <ac:spMk id="3" creationId="{C62F10E1-D0A2-4F5C-B9F4-131AE52C00BD}"/>
          </ac:spMkLst>
        </pc:spChg>
        <pc:spChg chg="mod">
          <ac:chgData name="Vella, Matt (Rivervale) AUS" userId="7f0b4c79-970d-4dba-9fca-4c69ccb8f27c" providerId="ADAL" clId="{F4551C47-7FBE-40C6-93AC-945A310AB6D6}" dt="2021-05-03T12:33:47.872" v="262" actId="948"/>
          <ac:spMkLst>
            <pc:docMk/>
            <pc:sldMk cId="1428159415" sldId="283"/>
            <ac:spMk id="5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2:36:48.654" v="386" actId="20577"/>
          <ac:spMkLst>
            <pc:docMk/>
            <pc:sldMk cId="1428159415" sldId="283"/>
            <ac:spMk id="6" creationId="{00000000-0000-0000-0000-000000000000}"/>
          </ac:spMkLst>
        </pc:spChg>
        <pc:spChg chg="add mod">
          <ac:chgData name="Vella, Matt (Rivervale) AUS" userId="7f0b4c79-970d-4dba-9fca-4c69ccb8f27c" providerId="ADAL" clId="{F4551C47-7FBE-40C6-93AC-945A310AB6D6}" dt="2021-05-03T12:39:24.797" v="834" actId="20577"/>
          <ac:spMkLst>
            <pc:docMk/>
            <pc:sldMk cId="1428159415" sldId="283"/>
            <ac:spMk id="8" creationId="{B5E9979C-A25F-4E4B-A3DA-7C1C671848DC}"/>
          </ac:spMkLst>
        </pc:spChg>
        <pc:graphicFrameChg chg="mod">
          <ac:chgData name="Vella, Matt (Rivervale) AUS" userId="7f0b4c79-970d-4dba-9fca-4c69ccb8f27c" providerId="ADAL" clId="{F4551C47-7FBE-40C6-93AC-945A310AB6D6}" dt="2021-05-03T12:33:48.078" v="301"/>
          <ac:graphicFrameMkLst>
            <pc:docMk/>
            <pc:sldMk cId="1428159415" sldId="283"/>
            <ac:graphicFrameMk id="2" creationId="{03BA8223-D091-4BBA-BE24-C16362DE70ED}"/>
          </ac:graphicFrameMkLst>
        </pc:graphicFrameChg>
        <pc:picChg chg="add mod">
          <ac:chgData name="Vella, Matt (Rivervale) AUS" userId="7f0b4c79-970d-4dba-9fca-4c69ccb8f27c" providerId="ADAL" clId="{F4551C47-7FBE-40C6-93AC-945A310AB6D6}" dt="2021-05-03T12:37:21.350" v="391" actId="1076"/>
          <ac:picMkLst>
            <pc:docMk/>
            <pc:sldMk cId="1428159415" sldId="283"/>
            <ac:picMk id="7" creationId="{1299B579-D966-4EF4-BBD8-875CD3E272EE}"/>
          </ac:picMkLst>
        </pc:picChg>
      </pc:sldChg>
      <pc:sldChg chg="addSp delSp modSp add mod">
        <pc:chgData name="Vella, Matt (Rivervale) AUS" userId="7f0b4c79-970d-4dba-9fca-4c69ccb8f27c" providerId="ADAL" clId="{F4551C47-7FBE-40C6-93AC-945A310AB6D6}" dt="2021-05-03T13:39:17.832" v="4292" actId="14100"/>
        <pc:sldMkLst>
          <pc:docMk/>
          <pc:sldMk cId="3068109771" sldId="284"/>
        </pc:sldMkLst>
        <pc:spChg chg="mod">
          <ac:chgData name="Vella, Matt (Rivervale) AUS" userId="7f0b4c79-970d-4dba-9fca-4c69ccb8f27c" providerId="ADAL" clId="{F4551C47-7FBE-40C6-93AC-945A310AB6D6}" dt="2021-05-03T12:41:04.681" v="933" actId="20577"/>
          <ac:spMkLst>
            <pc:docMk/>
            <pc:sldMk cId="3068109771" sldId="284"/>
            <ac:spMk id="6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2:45:21.374" v="1349" actId="20577"/>
          <ac:spMkLst>
            <pc:docMk/>
            <pc:sldMk cId="3068109771" sldId="284"/>
            <ac:spMk id="8" creationId="{B5E9979C-A25F-4E4B-A3DA-7C1C671848DC}"/>
          </ac:spMkLst>
        </pc:spChg>
        <pc:picChg chg="add mod">
          <ac:chgData name="Vella, Matt (Rivervale) AUS" userId="7f0b4c79-970d-4dba-9fca-4c69ccb8f27c" providerId="ADAL" clId="{F4551C47-7FBE-40C6-93AC-945A310AB6D6}" dt="2021-05-03T13:39:17.832" v="4292" actId="14100"/>
          <ac:picMkLst>
            <pc:docMk/>
            <pc:sldMk cId="3068109771" sldId="284"/>
            <ac:picMk id="4" creationId="{2E000A85-503C-4006-B01F-5B05A338A483}"/>
          </ac:picMkLst>
        </pc:picChg>
        <pc:picChg chg="del">
          <ac:chgData name="Vella, Matt (Rivervale) AUS" userId="7f0b4c79-970d-4dba-9fca-4c69ccb8f27c" providerId="ADAL" clId="{F4551C47-7FBE-40C6-93AC-945A310AB6D6}" dt="2021-05-03T12:41:24.925" v="934" actId="478"/>
          <ac:picMkLst>
            <pc:docMk/>
            <pc:sldMk cId="3068109771" sldId="284"/>
            <ac:picMk id="7" creationId="{1299B579-D966-4EF4-BBD8-875CD3E272EE}"/>
          </ac:picMkLst>
        </pc:picChg>
      </pc:sldChg>
      <pc:sldChg chg="addSp delSp modSp add mod">
        <pc:chgData name="Vella, Matt (Rivervale) AUS" userId="7f0b4c79-970d-4dba-9fca-4c69ccb8f27c" providerId="ADAL" clId="{F4551C47-7FBE-40C6-93AC-945A310AB6D6}" dt="2021-05-03T13:40:51.360" v="4315" actId="33524"/>
        <pc:sldMkLst>
          <pc:docMk/>
          <pc:sldMk cId="1838187480" sldId="285"/>
        </pc:sldMkLst>
        <pc:spChg chg="mod">
          <ac:chgData name="Vella, Matt (Rivervale) AUS" userId="7f0b4c79-970d-4dba-9fca-4c69ccb8f27c" providerId="ADAL" clId="{F4551C47-7FBE-40C6-93AC-945A310AB6D6}" dt="2021-05-03T13:00:04.348" v="1384" actId="20577"/>
          <ac:spMkLst>
            <pc:docMk/>
            <pc:sldMk cId="1838187480" sldId="285"/>
            <ac:spMk id="6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3:40:51.360" v="4315" actId="33524"/>
          <ac:spMkLst>
            <pc:docMk/>
            <pc:sldMk cId="1838187480" sldId="285"/>
            <ac:spMk id="8" creationId="{B5E9979C-A25F-4E4B-A3DA-7C1C671848DC}"/>
          </ac:spMkLst>
        </pc:spChg>
        <pc:picChg chg="del">
          <ac:chgData name="Vella, Matt (Rivervale) AUS" userId="7f0b4c79-970d-4dba-9fca-4c69ccb8f27c" providerId="ADAL" clId="{F4551C47-7FBE-40C6-93AC-945A310AB6D6}" dt="2021-05-03T13:00:09.821" v="1385" actId="478"/>
          <ac:picMkLst>
            <pc:docMk/>
            <pc:sldMk cId="1838187480" sldId="285"/>
            <ac:picMk id="4" creationId="{2E000A85-503C-4006-B01F-5B05A338A483}"/>
          </ac:picMkLst>
        </pc:picChg>
        <pc:picChg chg="add mod">
          <ac:chgData name="Vella, Matt (Rivervale) AUS" userId="7f0b4c79-970d-4dba-9fca-4c69ccb8f27c" providerId="ADAL" clId="{F4551C47-7FBE-40C6-93AC-945A310AB6D6}" dt="2021-05-03T13:40:36.718" v="4314" actId="14100"/>
          <ac:picMkLst>
            <pc:docMk/>
            <pc:sldMk cId="1838187480" sldId="285"/>
            <ac:picMk id="7" creationId="{531D7227-8FE2-492D-95AE-99B75F126E19}"/>
          </ac:picMkLst>
        </pc:picChg>
      </pc:sldChg>
      <pc:sldChg chg="addSp delSp modSp add del mod">
        <pc:chgData name="Vella, Matt (Rivervale) AUS" userId="7f0b4c79-970d-4dba-9fca-4c69ccb8f27c" providerId="ADAL" clId="{F4551C47-7FBE-40C6-93AC-945A310AB6D6}" dt="2021-05-03T13:44:32.519" v="4674" actId="47"/>
        <pc:sldMkLst>
          <pc:docMk/>
          <pc:sldMk cId="4219472516" sldId="286"/>
        </pc:sldMkLst>
        <pc:spChg chg="mod">
          <ac:chgData name="Vella, Matt (Rivervale) AUS" userId="7f0b4c79-970d-4dba-9fca-4c69ccb8f27c" providerId="ADAL" clId="{F4551C47-7FBE-40C6-93AC-945A310AB6D6}" dt="2021-05-03T13:09:09.631" v="2102" actId="20577"/>
          <ac:spMkLst>
            <pc:docMk/>
            <pc:sldMk cId="4219472516" sldId="286"/>
            <ac:spMk id="6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3:18:12.093" v="3051" actId="20577"/>
          <ac:spMkLst>
            <pc:docMk/>
            <pc:sldMk cId="4219472516" sldId="286"/>
            <ac:spMk id="8" creationId="{B5E9979C-A25F-4E4B-A3DA-7C1C671848DC}"/>
          </ac:spMkLst>
        </pc:spChg>
        <pc:picChg chg="add mod">
          <ac:chgData name="Vella, Matt (Rivervale) AUS" userId="7f0b4c79-970d-4dba-9fca-4c69ccb8f27c" providerId="ADAL" clId="{F4551C47-7FBE-40C6-93AC-945A310AB6D6}" dt="2021-05-03T13:13:19.922" v="2109" actId="14100"/>
          <ac:picMkLst>
            <pc:docMk/>
            <pc:sldMk cId="4219472516" sldId="286"/>
            <ac:picMk id="4" creationId="{1906A8A6-2299-455A-A351-E3AE48B6E0CB}"/>
          </ac:picMkLst>
        </pc:picChg>
        <pc:picChg chg="del">
          <ac:chgData name="Vella, Matt (Rivervale) AUS" userId="7f0b4c79-970d-4dba-9fca-4c69ccb8f27c" providerId="ADAL" clId="{F4551C47-7FBE-40C6-93AC-945A310AB6D6}" dt="2021-05-03T13:12:57.396" v="2103" actId="478"/>
          <ac:picMkLst>
            <pc:docMk/>
            <pc:sldMk cId="4219472516" sldId="286"/>
            <ac:picMk id="7" creationId="{531D7227-8FE2-492D-95AE-99B75F126E19}"/>
          </ac:picMkLst>
        </pc:picChg>
      </pc:sldChg>
      <pc:sldChg chg="addSp delSp modSp add mod">
        <pc:chgData name="Vella, Matt (Rivervale) AUS" userId="7f0b4c79-970d-4dba-9fca-4c69ccb8f27c" providerId="ADAL" clId="{F4551C47-7FBE-40C6-93AC-945A310AB6D6}" dt="2021-05-03T13:29:38.396" v="3552" actId="20577"/>
        <pc:sldMkLst>
          <pc:docMk/>
          <pc:sldMk cId="4254830028" sldId="287"/>
        </pc:sldMkLst>
        <pc:spChg chg="mod">
          <ac:chgData name="Vella, Matt (Rivervale) AUS" userId="7f0b4c79-970d-4dba-9fca-4c69ccb8f27c" providerId="ADAL" clId="{F4551C47-7FBE-40C6-93AC-945A310AB6D6}" dt="2021-05-03T13:26:52.388" v="3243" actId="20577"/>
          <ac:spMkLst>
            <pc:docMk/>
            <pc:sldMk cId="4254830028" sldId="287"/>
            <ac:spMk id="6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3:29:38.396" v="3552" actId="20577"/>
          <ac:spMkLst>
            <pc:docMk/>
            <pc:sldMk cId="4254830028" sldId="287"/>
            <ac:spMk id="8" creationId="{B5E9979C-A25F-4E4B-A3DA-7C1C671848DC}"/>
          </ac:spMkLst>
        </pc:spChg>
        <pc:picChg chg="del">
          <ac:chgData name="Vella, Matt (Rivervale) AUS" userId="7f0b4c79-970d-4dba-9fca-4c69ccb8f27c" providerId="ADAL" clId="{F4551C47-7FBE-40C6-93AC-945A310AB6D6}" dt="2021-05-03T13:26:55.760" v="3244" actId="478"/>
          <ac:picMkLst>
            <pc:docMk/>
            <pc:sldMk cId="4254830028" sldId="287"/>
            <ac:picMk id="4" creationId="{2E000A85-503C-4006-B01F-5B05A338A483}"/>
          </ac:picMkLst>
        </pc:picChg>
        <pc:picChg chg="add mod">
          <ac:chgData name="Vella, Matt (Rivervale) AUS" userId="7f0b4c79-970d-4dba-9fca-4c69ccb8f27c" providerId="ADAL" clId="{F4551C47-7FBE-40C6-93AC-945A310AB6D6}" dt="2021-05-03T13:27:20.024" v="3249" actId="1076"/>
          <ac:picMkLst>
            <pc:docMk/>
            <pc:sldMk cId="4254830028" sldId="287"/>
            <ac:picMk id="7" creationId="{918BD0C1-1850-4B87-985E-FE44ACA27351}"/>
          </ac:picMkLst>
        </pc:picChg>
      </pc:sldChg>
      <pc:sldChg chg="modSp add del mod">
        <pc:chgData name="Vella, Matt (Rivervale) AUS" userId="7f0b4c79-970d-4dba-9fca-4c69ccb8f27c" providerId="ADAL" clId="{F4551C47-7FBE-40C6-93AC-945A310AB6D6}" dt="2021-05-03T13:44:15.899" v="4673"/>
        <pc:sldMkLst>
          <pc:docMk/>
          <pc:sldMk cId="4121904168" sldId="288"/>
        </pc:sldMkLst>
        <pc:graphicFrameChg chg="mod">
          <ac:chgData name="Vella, Matt (Rivervale) AUS" userId="7f0b4c79-970d-4dba-9fca-4c69ccb8f27c" providerId="ADAL" clId="{F4551C47-7FBE-40C6-93AC-945A310AB6D6}" dt="2021-05-03T13:44:15.899" v="4673"/>
          <ac:graphicFrameMkLst>
            <pc:docMk/>
            <pc:sldMk cId="4121904168" sldId="288"/>
            <ac:graphicFrameMk id="2" creationId="{03BA8223-D091-4BBA-BE24-C16362DE70ED}"/>
          </ac:graphicFrameMkLst>
        </pc:graphicFrameChg>
      </pc:sldChg>
      <pc:sldChg chg="addSp delSp modSp add mod">
        <pc:chgData name="Vella, Matt (Rivervale) AUS" userId="7f0b4c79-970d-4dba-9fca-4c69ccb8f27c" providerId="ADAL" clId="{F4551C47-7FBE-40C6-93AC-945A310AB6D6}" dt="2021-05-03T13:43:17.181" v="4540" actId="20577"/>
        <pc:sldMkLst>
          <pc:docMk/>
          <pc:sldMk cId="2606642014" sldId="289"/>
        </pc:sldMkLst>
        <pc:spChg chg="add del mod modVis">
          <ac:chgData name="Vella, Matt (Rivervale) AUS" userId="7f0b4c79-970d-4dba-9fca-4c69ccb8f27c" providerId="ADAL" clId="{F4551C47-7FBE-40C6-93AC-945A310AB6D6}" dt="2021-05-03T13:38:07.768" v="3970"/>
          <ac:spMkLst>
            <pc:docMk/>
            <pc:sldMk cId="2606642014" sldId="289"/>
            <ac:spMk id="3" creationId="{C5411FDF-FAA7-42CA-978F-A6F31B874FA8}"/>
          </ac:spMkLst>
        </pc:spChg>
        <pc:spChg chg="mod">
          <ac:chgData name="Vella, Matt (Rivervale) AUS" userId="7f0b4c79-970d-4dba-9fca-4c69ccb8f27c" providerId="ADAL" clId="{F4551C47-7FBE-40C6-93AC-945A310AB6D6}" dt="2021-05-03T13:38:09.426" v="3983" actId="948"/>
          <ac:spMkLst>
            <pc:docMk/>
            <pc:sldMk cId="2606642014" sldId="289"/>
            <ac:spMk id="5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3:43:17.181" v="4540" actId="20577"/>
          <ac:spMkLst>
            <pc:docMk/>
            <pc:sldMk cId="2606642014" sldId="289"/>
            <ac:spMk id="6" creationId="{00000000-0000-0000-0000-000000000000}"/>
          </ac:spMkLst>
        </pc:spChg>
        <pc:spChg chg="add del mod modVis">
          <ac:chgData name="Vella, Matt (Rivervale) AUS" userId="7f0b4c79-970d-4dba-9fca-4c69ccb8f27c" providerId="ADAL" clId="{F4551C47-7FBE-40C6-93AC-945A310AB6D6}" dt="2021-05-03T13:38:09.573" v="4020"/>
          <ac:spMkLst>
            <pc:docMk/>
            <pc:sldMk cId="2606642014" sldId="289"/>
            <ac:spMk id="7" creationId="{48BE3DE6-6306-4914-8E5E-B43754645DDC}"/>
          </ac:spMkLst>
        </pc:spChg>
        <pc:spChg chg="del">
          <ac:chgData name="Vella, Matt (Rivervale) AUS" userId="7f0b4c79-970d-4dba-9fca-4c69ccb8f27c" providerId="ADAL" clId="{F4551C47-7FBE-40C6-93AC-945A310AB6D6}" dt="2021-05-03T13:35:47.856" v="3931" actId="478"/>
          <ac:spMkLst>
            <pc:docMk/>
            <pc:sldMk cId="2606642014" sldId="289"/>
            <ac:spMk id="8" creationId="{B5E9979C-A25F-4E4B-A3DA-7C1C671848DC}"/>
          </ac:spMkLst>
        </pc:spChg>
        <pc:graphicFrameChg chg="mod">
          <ac:chgData name="Vella, Matt (Rivervale) AUS" userId="7f0b4c79-970d-4dba-9fca-4c69ccb8f27c" providerId="ADAL" clId="{F4551C47-7FBE-40C6-93AC-945A310AB6D6}" dt="2021-05-03T13:38:09.581" v="4022"/>
          <ac:graphicFrameMkLst>
            <pc:docMk/>
            <pc:sldMk cId="2606642014" sldId="289"/>
            <ac:graphicFrameMk id="2" creationId="{03BA8223-D091-4BBA-BE24-C16362DE70ED}"/>
          </ac:graphicFrameMkLst>
        </pc:graphicFrameChg>
        <pc:picChg chg="del">
          <ac:chgData name="Vella, Matt (Rivervale) AUS" userId="7f0b4c79-970d-4dba-9fca-4c69ccb8f27c" providerId="ADAL" clId="{F4551C47-7FBE-40C6-93AC-945A310AB6D6}" dt="2021-05-03T13:35:47.856" v="3931" actId="478"/>
          <ac:picMkLst>
            <pc:docMk/>
            <pc:sldMk cId="2606642014" sldId="289"/>
            <ac:picMk id="4" creationId="{1906A8A6-2299-455A-A351-E3AE48B6E0CB}"/>
          </ac:picMkLst>
        </pc:picChg>
      </pc:sldChg>
      <pc:sldChg chg="addSp delSp modSp add mod">
        <pc:chgData name="Vella, Matt (Rivervale) AUS" userId="7f0b4c79-970d-4dba-9fca-4c69ccb8f27c" providerId="ADAL" clId="{F4551C47-7FBE-40C6-93AC-945A310AB6D6}" dt="2021-05-03T13:48:10.276" v="5016" actId="20577"/>
        <pc:sldMkLst>
          <pc:docMk/>
          <pc:sldMk cId="1441185770" sldId="290"/>
        </pc:sldMkLst>
        <pc:spChg chg="add del mod modVis">
          <ac:chgData name="Vella, Matt (Rivervale) AUS" userId="7f0b4c79-970d-4dba-9fca-4c69ccb8f27c" providerId="ADAL" clId="{F4551C47-7FBE-40C6-93AC-945A310AB6D6}" dt="2021-05-03T13:43:31.579" v="4603"/>
          <ac:spMkLst>
            <pc:docMk/>
            <pc:sldMk cId="1441185770" sldId="290"/>
            <ac:spMk id="3" creationId="{349D87C1-A94B-4FF4-9348-E9C4B6D865FD}"/>
          </ac:spMkLst>
        </pc:spChg>
        <pc:spChg chg="mod">
          <ac:chgData name="Vella, Matt (Rivervale) AUS" userId="7f0b4c79-970d-4dba-9fca-4c69ccb8f27c" providerId="ADAL" clId="{F4551C47-7FBE-40C6-93AC-945A310AB6D6}" dt="2021-05-03T13:43:31.340" v="4566" actId="948"/>
          <ac:spMkLst>
            <pc:docMk/>
            <pc:sldMk cId="1441185770" sldId="290"/>
            <ac:spMk id="5" creationId="{00000000-0000-0000-0000-000000000000}"/>
          </ac:spMkLst>
        </pc:spChg>
        <pc:spChg chg="mod">
          <ac:chgData name="Vella, Matt (Rivervale) AUS" userId="7f0b4c79-970d-4dba-9fca-4c69ccb8f27c" providerId="ADAL" clId="{F4551C47-7FBE-40C6-93AC-945A310AB6D6}" dt="2021-05-03T13:48:10.276" v="5016" actId="20577"/>
          <ac:spMkLst>
            <pc:docMk/>
            <pc:sldMk cId="1441185770" sldId="290"/>
            <ac:spMk id="6" creationId="{00000000-0000-0000-0000-000000000000}"/>
          </ac:spMkLst>
        </pc:spChg>
        <pc:graphicFrameChg chg="mod">
          <ac:chgData name="Vella, Matt (Rivervale) AUS" userId="7f0b4c79-970d-4dba-9fca-4c69ccb8f27c" providerId="ADAL" clId="{F4551C47-7FBE-40C6-93AC-945A310AB6D6}" dt="2021-05-03T13:43:31.585" v="4605"/>
          <ac:graphicFrameMkLst>
            <pc:docMk/>
            <pc:sldMk cId="1441185770" sldId="290"/>
            <ac:graphicFrameMk id="2" creationId="{03BA8223-D091-4BBA-BE24-C16362DE70ED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5E03B7-B591-4A2A-B695-014C5A39F13E}" type="datetimeFigureOut">
              <a:rPr lang="en-US"/>
              <a:t>5/3/2021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E322BB-75AD-4A1E-9661-2724167329F0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1270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DFBD7B-E4FB-4AA8-9540-FD148073ACB3}" type="datetimeFigureOut">
              <a:rPr lang="en-US"/>
              <a:t>5/3/2021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45B7DE-1198-4F2F-B574-CA8CAE341642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2312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squares"/>
          <p:cNvGrpSpPr/>
          <p:nvPr/>
        </p:nvGrpSpPr>
        <p:grpSpPr>
          <a:xfrm>
            <a:off x="0" y="1135743"/>
            <a:ext cx="1622332" cy="799981"/>
            <a:chOff x="0" y="452558"/>
            <a:chExt cx="914400" cy="524182"/>
          </a:xfrm>
        </p:grpSpPr>
        <p:sp>
          <p:nvSpPr>
            <p:cNvPr id="8" name="Rounded Rectangle 7"/>
            <p:cNvSpPr/>
            <p:nvPr/>
          </p:nvSpPr>
          <p:spPr>
            <a:xfrm>
              <a:off x="591671" y="452558"/>
              <a:ext cx="322729" cy="52418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15154" y="452558"/>
              <a:ext cx="322729" cy="52418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ound Same Side Corner Rectangle 9"/>
            <p:cNvSpPr/>
            <p:nvPr/>
          </p:nvSpPr>
          <p:spPr>
            <a:xfrm rot="5400000">
              <a:off x="-181408" y="633966"/>
              <a:ext cx="524182" cy="161366"/>
            </a:xfrm>
            <a:prstGeom prst="round2SameRect">
              <a:avLst>
                <a:gd name="adj1" fmla="val 291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324" y="362396"/>
            <a:ext cx="9141619" cy="16764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2089595"/>
            <a:ext cx="9141619" cy="886344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09051-6E81-43E8-9099-FF6A0C3DCFE8}" type="datetime1">
              <a:rPr lang="en-US"/>
              <a:t>5/3/2021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751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EAB04-7709-4C1E-A61A-74684A0170FC}" type="datetime1">
              <a:rPr lang="en-US"/>
              <a:t>5/3/2021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082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squares"/>
          <p:cNvGrpSpPr/>
          <p:nvPr/>
        </p:nvGrpSpPr>
        <p:grpSpPr>
          <a:xfrm rot="5400000">
            <a:off x="9583007" y="233864"/>
            <a:ext cx="1063300" cy="524046"/>
            <a:chOff x="0" y="452558"/>
            <a:chExt cx="914400" cy="524182"/>
          </a:xfrm>
        </p:grpSpPr>
        <p:sp>
          <p:nvSpPr>
            <p:cNvPr id="8" name="Rounded Rectangle 7"/>
            <p:cNvSpPr/>
            <p:nvPr/>
          </p:nvSpPr>
          <p:spPr>
            <a:xfrm>
              <a:off x="591671" y="452558"/>
              <a:ext cx="322729" cy="52418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15154" y="452558"/>
              <a:ext cx="322729" cy="52418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ound Same Side Corner Rectangle 9"/>
            <p:cNvSpPr/>
            <p:nvPr/>
          </p:nvSpPr>
          <p:spPr>
            <a:xfrm rot="5400000">
              <a:off x="-181408" y="633966"/>
              <a:ext cx="524182" cy="161366"/>
            </a:xfrm>
            <a:prstGeom prst="round2SameRect">
              <a:avLst>
                <a:gd name="adj1" fmla="val 291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</p:grpSp>
      <p:grpSp>
        <p:nvGrpSpPr>
          <p:cNvPr id="15" name="bottom graphic"/>
          <p:cNvGrpSpPr/>
          <p:nvPr/>
        </p:nvGrpSpPr>
        <p:grpSpPr>
          <a:xfrm>
            <a:off x="0" y="5395517"/>
            <a:ext cx="12188825" cy="1462483"/>
            <a:chOff x="0" y="4046638"/>
            <a:chExt cx="9144000" cy="1096862"/>
          </a:xfrm>
        </p:grpSpPr>
        <p:sp>
          <p:nvSpPr>
            <p:cNvPr id="16" name="Freeform 15"/>
            <p:cNvSpPr/>
            <p:nvPr/>
          </p:nvSpPr>
          <p:spPr bwMode="ltGray">
            <a:xfrm rot="5400000">
              <a:off x="4119794" y="119293"/>
              <a:ext cx="904412" cy="9144000"/>
            </a:xfrm>
            <a:custGeom>
              <a:avLst/>
              <a:gdLst/>
              <a:ahLst/>
              <a:cxnLst/>
              <a:rect l="l" t="t" r="r" b="b"/>
              <a:pathLst>
                <a:path w="904412" h="9144000">
                  <a:moveTo>
                    <a:pt x="0" y="0"/>
                  </a:moveTo>
                  <a:lnTo>
                    <a:pt x="904412" y="0"/>
                  </a:lnTo>
                  <a:lnTo>
                    <a:pt x="904412" y="9144000"/>
                  </a:lnTo>
                  <a:lnTo>
                    <a:pt x="391235" y="9144000"/>
                  </a:lnTo>
                  <a:cubicBezTo>
                    <a:pt x="445385" y="6730684"/>
                    <a:pt x="250230" y="1995757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7" name="Rectangle 72"/>
            <p:cNvSpPr/>
            <p:nvPr/>
          </p:nvSpPr>
          <p:spPr bwMode="ltGray">
            <a:xfrm rot="5400000">
              <a:off x="4023569" y="23069"/>
              <a:ext cx="1096862" cy="9144000"/>
            </a:xfrm>
            <a:custGeom>
              <a:avLst/>
              <a:gdLst/>
              <a:ahLst/>
              <a:cxnLst/>
              <a:rect l="l" t="t" r="r" b="b"/>
              <a:pathLst>
                <a:path w="1096862" h="9144000">
                  <a:moveTo>
                    <a:pt x="1096861" y="9136375"/>
                  </a:moveTo>
                  <a:lnTo>
                    <a:pt x="1096861" y="0"/>
                  </a:lnTo>
                  <a:lnTo>
                    <a:pt x="1096862" y="0"/>
                  </a:lnTo>
                  <a:lnTo>
                    <a:pt x="1096862" y="9136375"/>
                  </a:lnTo>
                  <a:close/>
                  <a:moveTo>
                    <a:pt x="0" y="0"/>
                  </a:moveTo>
                  <a:lnTo>
                    <a:pt x="142171" y="0"/>
                  </a:lnTo>
                  <a:cubicBezTo>
                    <a:pt x="214017" y="532804"/>
                    <a:pt x="281641" y="1260834"/>
                    <a:pt x="340913" y="2087809"/>
                  </a:cubicBezTo>
                  <a:cubicBezTo>
                    <a:pt x="492781" y="4358443"/>
                    <a:pt x="587048" y="7374964"/>
                    <a:pt x="547354" y="9144000"/>
                  </a:cubicBezTo>
                  <a:lnTo>
                    <a:pt x="452132" y="9144000"/>
                  </a:lnTo>
                  <a:cubicBezTo>
                    <a:pt x="484963" y="4670358"/>
                    <a:pt x="240277" y="2482661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51060" y="1150514"/>
            <a:ext cx="1828324" cy="502168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8882" y="1150514"/>
            <a:ext cx="8227457" cy="5021685"/>
          </a:xfrm>
        </p:spPr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9BD0D-E0B1-4CED-AC65-708AC79EB9CD}" type="datetime1">
              <a:rPr lang="en-US"/>
              <a:t>5/3/2021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6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C3EA6D-DF0B-4D4B-B359-5F1D1D0E30A4}" type="datetime1">
              <a:rPr lang="en-US"/>
              <a:t>5/3/2021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515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squares"/>
          <p:cNvGrpSpPr/>
          <p:nvPr/>
        </p:nvGrpSpPr>
        <p:grpSpPr>
          <a:xfrm>
            <a:off x="0" y="3124415"/>
            <a:ext cx="1622332" cy="805061"/>
            <a:chOff x="0" y="2343311"/>
            <a:chExt cx="1217066" cy="603796"/>
          </a:xfrm>
        </p:grpSpPr>
        <p:sp>
          <p:nvSpPr>
            <p:cNvPr id="8" name="Rounded Rectangle 7"/>
            <p:cNvSpPr/>
            <p:nvPr/>
          </p:nvSpPr>
          <p:spPr>
            <a:xfrm>
              <a:off x="787514" y="2347123"/>
              <a:ext cx="429552" cy="59998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86370" y="2347123"/>
              <a:ext cx="429552" cy="599984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ound Same Side Corner Rectangle 9"/>
            <p:cNvSpPr/>
            <p:nvPr/>
          </p:nvSpPr>
          <p:spPr>
            <a:xfrm rot="5400000">
              <a:off x="-192604" y="2535915"/>
              <a:ext cx="599986" cy="214778"/>
            </a:xfrm>
            <a:prstGeom prst="round2SameRect">
              <a:avLst>
                <a:gd name="adj1" fmla="val 291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</p:grpSp>
      <p:grpSp>
        <p:nvGrpSpPr>
          <p:cNvPr id="19" name="bottom graphic"/>
          <p:cNvGrpSpPr/>
          <p:nvPr/>
        </p:nvGrpSpPr>
        <p:grpSpPr>
          <a:xfrm>
            <a:off x="0" y="5409216"/>
            <a:ext cx="12188825" cy="1462483"/>
            <a:chOff x="0" y="4056912"/>
            <a:chExt cx="9144000" cy="1096862"/>
          </a:xfrm>
        </p:grpSpPr>
        <p:sp>
          <p:nvSpPr>
            <p:cNvPr id="20" name="Freeform 19"/>
            <p:cNvSpPr/>
            <p:nvPr/>
          </p:nvSpPr>
          <p:spPr bwMode="ltGray">
            <a:xfrm rot="5400000">
              <a:off x="4119794" y="119293"/>
              <a:ext cx="904412" cy="9144000"/>
            </a:xfrm>
            <a:custGeom>
              <a:avLst/>
              <a:gdLst/>
              <a:ahLst/>
              <a:cxnLst/>
              <a:rect l="l" t="t" r="r" b="b"/>
              <a:pathLst>
                <a:path w="904412" h="9144000">
                  <a:moveTo>
                    <a:pt x="0" y="0"/>
                  </a:moveTo>
                  <a:lnTo>
                    <a:pt x="904412" y="0"/>
                  </a:lnTo>
                  <a:lnTo>
                    <a:pt x="904412" y="9144000"/>
                  </a:lnTo>
                  <a:lnTo>
                    <a:pt x="391235" y="9144000"/>
                  </a:lnTo>
                  <a:cubicBezTo>
                    <a:pt x="445385" y="6730684"/>
                    <a:pt x="250230" y="1995757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21" name="Rectangle 72"/>
            <p:cNvSpPr/>
            <p:nvPr/>
          </p:nvSpPr>
          <p:spPr bwMode="ltGray">
            <a:xfrm rot="5400000">
              <a:off x="4023569" y="33343"/>
              <a:ext cx="1096862" cy="9144000"/>
            </a:xfrm>
            <a:custGeom>
              <a:avLst/>
              <a:gdLst/>
              <a:ahLst/>
              <a:cxnLst/>
              <a:rect l="l" t="t" r="r" b="b"/>
              <a:pathLst>
                <a:path w="1096862" h="9144000">
                  <a:moveTo>
                    <a:pt x="1096861" y="9136375"/>
                  </a:moveTo>
                  <a:lnTo>
                    <a:pt x="1096861" y="0"/>
                  </a:lnTo>
                  <a:lnTo>
                    <a:pt x="1096862" y="0"/>
                  </a:lnTo>
                  <a:lnTo>
                    <a:pt x="1096862" y="9136375"/>
                  </a:lnTo>
                  <a:close/>
                  <a:moveTo>
                    <a:pt x="0" y="0"/>
                  </a:moveTo>
                  <a:lnTo>
                    <a:pt x="142171" y="0"/>
                  </a:lnTo>
                  <a:cubicBezTo>
                    <a:pt x="214017" y="532804"/>
                    <a:pt x="281641" y="1260834"/>
                    <a:pt x="340913" y="2087809"/>
                  </a:cubicBezTo>
                  <a:cubicBezTo>
                    <a:pt x="492781" y="4358443"/>
                    <a:pt x="587048" y="7374964"/>
                    <a:pt x="547354" y="9144000"/>
                  </a:cubicBezTo>
                  <a:lnTo>
                    <a:pt x="452132" y="9144000"/>
                  </a:lnTo>
                  <a:cubicBezTo>
                    <a:pt x="484963" y="4670358"/>
                    <a:pt x="240277" y="2482661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324" y="1932518"/>
            <a:ext cx="9141619" cy="2105367"/>
          </a:xfrm>
        </p:spPr>
        <p:txBody>
          <a:bodyPr anchor="b">
            <a:normAutofit/>
          </a:bodyPr>
          <a:lstStyle>
            <a:lvl1pPr algn="l">
              <a:defRPr sz="6000" b="0" cap="none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324" y="4084264"/>
            <a:ext cx="9141619" cy="933297"/>
          </a:xfrm>
        </p:spPr>
        <p:txBody>
          <a:bodyPr anchor="t">
            <a:normAutofit/>
          </a:bodyPr>
          <a:lstStyle>
            <a:lvl1pPr marL="0" indent="0">
              <a:buNone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7EDB99-15BC-4479-BAC5-1E502E66917A}" type="datetime1">
              <a:rPr lang="en-US"/>
              <a:t>5/3/2021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569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152400"/>
            <a:ext cx="9751060" cy="1295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1600200"/>
            <a:ext cx="4875530" cy="45720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2" y="1600200"/>
            <a:ext cx="4875530" cy="45720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7C2A3-CD19-48AB-9F64-ECCF75182EDD}" type="datetime1">
              <a:rPr lang="en-US"/>
              <a:t>5/3/2021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779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152400"/>
            <a:ext cx="9751060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1524000"/>
            <a:ext cx="4875530" cy="816429"/>
          </a:xfrm>
        </p:spPr>
        <p:txBody>
          <a:bodyPr anchor="ctr">
            <a:norm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2413000"/>
            <a:ext cx="4875530" cy="3759199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4412" y="1524000"/>
            <a:ext cx="4875530" cy="816429"/>
          </a:xfrm>
        </p:spPr>
        <p:txBody>
          <a:bodyPr anchor="ctr">
            <a:norm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4412" y="2413000"/>
            <a:ext cx="4875530" cy="3759199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3E8C1-7C87-4705-AB97-8CD17D208E3F}" type="datetime1">
              <a:rPr lang="en-US"/>
              <a:t>5/3/2021</a:t>
            </a:fld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703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0C624E-DF92-4841-B9B9-DD11AA239B85}" type="datetime1">
              <a:rPr lang="en-US"/>
              <a:t>5/3/2021</a:t>
            </a:fld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903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bottom graphic"/>
          <p:cNvGrpSpPr/>
          <p:nvPr/>
        </p:nvGrpSpPr>
        <p:grpSpPr>
          <a:xfrm>
            <a:off x="0" y="5409216"/>
            <a:ext cx="12188825" cy="1462483"/>
            <a:chOff x="0" y="4056912"/>
            <a:chExt cx="9144000" cy="1096862"/>
          </a:xfrm>
        </p:grpSpPr>
        <p:sp>
          <p:nvSpPr>
            <p:cNvPr id="9" name="Freeform 8"/>
            <p:cNvSpPr/>
            <p:nvPr/>
          </p:nvSpPr>
          <p:spPr bwMode="ltGray">
            <a:xfrm rot="5400000">
              <a:off x="4119794" y="119293"/>
              <a:ext cx="904412" cy="9144000"/>
            </a:xfrm>
            <a:custGeom>
              <a:avLst/>
              <a:gdLst/>
              <a:ahLst/>
              <a:cxnLst/>
              <a:rect l="l" t="t" r="r" b="b"/>
              <a:pathLst>
                <a:path w="904412" h="9144000">
                  <a:moveTo>
                    <a:pt x="0" y="0"/>
                  </a:moveTo>
                  <a:lnTo>
                    <a:pt x="904412" y="0"/>
                  </a:lnTo>
                  <a:lnTo>
                    <a:pt x="904412" y="9144000"/>
                  </a:lnTo>
                  <a:lnTo>
                    <a:pt x="391235" y="9144000"/>
                  </a:lnTo>
                  <a:cubicBezTo>
                    <a:pt x="445385" y="6730684"/>
                    <a:pt x="250230" y="1995757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ectangle 72"/>
            <p:cNvSpPr/>
            <p:nvPr/>
          </p:nvSpPr>
          <p:spPr bwMode="ltGray">
            <a:xfrm rot="5400000">
              <a:off x="4023569" y="33343"/>
              <a:ext cx="1096862" cy="9144000"/>
            </a:xfrm>
            <a:custGeom>
              <a:avLst/>
              <a:gdLst/>
              <a:ahLst/>
              <a:cxnLst/>
              <a:rect l="l" t="t" r="r" b="b"/>
              <a:pathLst>
                <a:path w="1096862" h="9144000">
                  <a:moveTo>
                    <a:pt x="1096861" y="9136375"/>
                  </a:moveTo>
                  <a:lnTo>
                    <a:pt x="1096861" y="0"/>
                  </a:lnTo>
                  <a:lnTo>
                    <a:pt x="1096862" y="0"/>
                  </a:lnTo>
                  <a:lnTo>
                    <a:pt x="1096862" y="9136375"/>
                  </a:lnTo>
                  <a:close/>
                  <a:moveTo>
                    <a:pt x="0" y="0"/>
                  </a:moveTo>
                  <a:lnTo>
                    <a:pt x="142171" y="0"/>
                  </a:lnTo>
                  <a:cubicBezTo>
                    <a:pt x="214017" y="532804"/>
                    <a:pt x="281641" y="1260834"/>
                    <a:pt x="340913" y="2087809"/>
                  </a:cubicBezTo>
                  <a:cubicBezTo>
                    <a:pt x="492781" y="4358443"/>
                    <a:pt x="587048" y="7374964"/>
                    <a:pt x="547354" y="9144000"/>
                  </a:cubicBezTo>
                  <a:lnTo>
                    <a:pt x="452132" y="9144000"/>
                  </a:lnTo>
                  <a:cubicBezTo>
                    <a:pt x="484963" y="4670358"/>
                    <a:pt x="240277" y="2482661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A3AE1-4360-4D5B-BDBC-656B872DD533}" type="datetime1">
              <a:rPr lang="en-US"/>
              <a:t>5/3/2021</a:t>
            </a:fld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539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5530" y="1600200"/>
            <a:ext cx="6094413" cy="45720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18883" y="1600202"/>
            <a:ext cx="3453500" cy="4571999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990708-46A4-4851-883E-8DFB8939107E}" type="datetime1">
              <a:rPr lang="en-US"/>
              <a:t>5/3/2021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6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1218887" y="1600200"/>
            <a:ext cx="6703850" cy="3657600"/>
          </a:xfrm>
          <a:prstGeom prst="roundRect">
            <a:avLst>
              <a:gd name="adj" fmla="val 3098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27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25883" y="1600200"/>
            <a:ext cx="2844059" cy="3759200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88EFFC-86AE-4294-A319-CAFC2651994B}" type="datetime1">
              <a:rPr lang="en-US"/>
              <a:t>5/3/2021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9D79-8A4B-4031-B1E0-AF26F8EDF2B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298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23A32C0-7899-4131-9C06-64E02757F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9398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23A32C0-7899-4131-9C06-64E02757F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bottom graphic"/>
          <p:cNvGrpSpPr/>
          <p:nvPr/>
        </p:nvGrpSpPr>
        <p:grpSpPr>
          <a:xfrm>
            <a:off x="0" y="5409216"/>
            <a:ext cx="12188825" cy="1462483"/>
            <a:chOff x="0" y="4056912"/>
            <a:chExt cx="9144000" cy="1096862"/>
          </a:xfrm>
        </p:grpSpPr>
        <p:sp>
          <p:nvSpPr>
            <p:cNvPr id="21" name="Freeform 20"/>
            <p:cNvSpPr/>
            <p:nvPr/>
          </p:nvSpPr>
          <p:spPr bwMode="ltGray">
            <a:xfrm rot="5400000">
              <a:off x="4119794" y="119293"/>
              <a:ext cx="904412" cy="9144000"/>
            </a:xfrm>
            <a:custGeom>
              <a:avLst/>
              <a:gdLst/>
              <a:ahLst/>
              <a:cxnLst/>
              <a:rect l="l" t="t" r="r" b="b"/>
              <a:pathLst>
                <a:path w="904412" h="9144000">
                  <a:moveTo>
                    <a:pt x="0" y="0"/>
                  </a:moveTo>
                  <a:lnTo>
                    <a:pt x="904412" y="0"/>
                  </a:lnTo>
                  <a:lnTo>
                    <a:pt x="904412" y="9144000"/>
                  </a:lnTo>
                  <a:lnTo>
                    <a:pt x="391235" y="9144000"/>
                  </a:lnTo>
                  <a:cubicBezTo>
                    <a:pt x="445385" y="6730684"/>
                    <a:pt x="250230" y="1995757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8" name="Rectangle 72"/>
            <p:cNvSpPr/>
            <p:nvPr/>
          </p:nvSpPr>
          <p:spPr bwMode="ltGray">
            <a:xfrm rot="5400000">
              <a:off x="4023569" y="33343"/>
              <a:ext cx="1096862" cy="9144000"/>
            </a:xfrm>
            <a:custGeom>
              <a:avLst/>
              <a:gdLst/>
              <a:ahLst/>
              <a:cxnLst/>
              <a:rect l="l" t="t" r="r" b="b"/>
              <a:pathLst>
                <a:path w="1096862" h="9144000">
                  <a:moveTo>
                    <a:pt x="1096861" y="9136375"/>
                  </a:moveTo>
                  <a:lnTo>
                    <a:pt x="1096861" y="0"/>
                  </a:lnTo>
                  <a:lnTo>
                    <a:pt x="1096862" y="0"/>
                  </a:lnTo>
                  <a:lnTo>
                    <a:pt x="1096862" y="9136375"/>
                  </a:lnTo>
                  <a:close/>
                  <a:moveTo>
                    <a:pt x="0" y="0"/>
                  </a:moveTo>
                  <a:lnTo>
                    <a:pt x="142171" y="0"/>
                  </a:lnTo>
                  <a:cubicBezTo>
                    <a:pt x="214017" y="532804"/>
                    <a:pt x="281641" y="1260834"/>
                    <a:pt x="340913" y="2087809"/>
                  </a:cubicBezTo>
                  <a:cubicBezTo>
                    <a:pt x="492781" y="4358443"/>
                    <a:pt x="587048" y="7374964"/>
                    <a:pt x="547354" y="9144000"/>
                  </a:cubicBezTo>
                  <a:lnTo>
                    <a:pt x="452132" y="9144000"/>
                  </a:lnTo>
                  <a:cubicBezTo>
                    <a:pt x="484963" y="4670358"/>
                    <a:pt x="240277" y="2482661"/>
                    <a:pt x="0" y="0"/>
                  </a:cubicBez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/>
            </a:p>
          </p:txBody>
        </p:sp>
      </p:grpSp>
      <p:grpSp>
        <p:nvGrpSpPr>
          <p:cNvPr id="7" name="squares"/>
          <p:cNvGrpSpPr/>
          <p:nvPr/>
        </p:nvGrpSpPr>
        <p:grpSpPr>
          <a:xfrm>
            <a:off x="1" y="800551"/>
            <a:ext cx="1063023" cy="524183"/>
            <a:chOff x="0" y="452558"/>
            <a:chExt cx="914400" cy="524182"/>
          </a:xfrm>
        </p:grpSpPr>
        <p:sp>
          <p:nvSpPr>
            <p:cNvPr id="8" name="Rounded Rectangle 7"/>
            <p:cNvSpPr/>
            <p:nvPr/>
          </p:nvSpPr>
          <p:spPr>
            <a:xfrm>
              <a:off x="591671" y="452558"/>
              <a:ext cx="322729" cy="52418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15154" y="452558"/>
              <a:ext cx="322729" cy="52418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ound Same Side Corner Rectangle 9"/>
            <p:cNvSpPr/>
            <p:nvPr/>
          </p:nvSpPr>
          <p:spPr>
            <a:xfrm rot="5400000">
              <a:off x="-181408" y="633966"/>
              <a:ext cx="524182" cy="161366"/>
            </a:xfrm>
            <a:prstGeom prst="round2SameRect">
              <a:avLst>
                <a:gd name="adj1" fmla="val 291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8883" y="152400"/>
            <a:ext cx="9751060" cy="1295400"/>
          </a:xfrm>
          <a:prstGeom prst="rect">
            <a:avLst/>
          </a:prstGeom>
        </p:spPr>
        <p:txBody>
          <a:bodyPr vert="horz" lIns="121899" tIns="60949" rIns="121899" bIns="60949" rtlCol="0" anchor="b">
            <a:norm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8883" y="1600200"/>
            <a:ext cx="9751060" cy="4572000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8883" y="6448425"/>
            <a:ext cx="8288401" cy="180976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47913" y="6448425"/>
            <a:ext cx="1422030" cy="180976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29E8617-6EA8-4B97-A5E8-E18E98765EE2}" type="datetime1">
              <a:rPr lang="en-US"/>
              <a:pPr/>
              <a:t>5/3/2021</a:t>
            </a:fld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1516" y="6448425"/>
            <a:ext cx="812588" cy="180976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9D79-8A4B-4031-B1E0-AF26F8EDF2BC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2682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47" indent="-304747" algn="l" defTabSz="1218987" rtl="0" eaLnBrk="1" latinLnBrk="0" hangingPunct="1">
        <a:lnSpc>
          <a:spcPct val="90000"/>
        </a:lnSpc>
        <a:spcBef>
          <a:spcPts val="1800"/>
        </a:spcBef>
        <a:buClr>
          <a:schemeClr val="accent1">
            <a:lumMod val="75000"/>
          </a:schemeClr>
        </a:buClr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55772" indent="-304747" algn="l" defTabSz="1218987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06797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822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08847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>
            <a:lumMod val="75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872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010897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61922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12947" indent="-304747" algn="l" defTabSz="1218987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s.google.com/maps/documentation/places/web-service/overview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kaggle.com/syuzai/perth-house-prices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hyperlink" Target="https://www.abs.gov.au/census/find-census-data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hyperlink" Target="http://house.speakingsame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6BF3438-C51C-4E0C-8581-524473133A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107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6BF3438-C51C-4E0C-8581-524473133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The Perth Restaurant Industr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A study into the socio-economic factors that drive restaurant consumer decision making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DFF6253C-B691-4096-996C-524670C7CEED}"/>
              </a:ext>
            </a:extLst>
          </p:cNvPr>
          <p:cNvSpPr txBox="1">
            <a:spLocks/>
          </p:cNvSpPr>
          <p:nvPr/>
        </p:nvSpPr>
        <p:spPr>
          <a:xfrm>
            <a:off x="0" y="6381328"/>
            <a:ext cx="9141619" cy="557448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0" indent="0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None/>
              <a:defRPr sz="28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493" indent="0" algn="ctr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8987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480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7973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467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6960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6453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5947" indent="0" algn="ctr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am: Josh Cullen, Hideaki Kaneko, Matt Vella</a:t>
            </a:r>
          </a:p>
        </p:txBody>
      </p:sp>
    </p:spTree>
    <p:extLst>
      <p:ext uri="{BB962C8B-B14F-4D97-AF65-F5344CB8AC3E}">
        <p14:creationId xmlns:p14="http://schemas.microsoft.com/office/powerpoint/2010/main" val="280183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e to the size of the resulting API query, our code and analysis has been split into two sections.</a:t>
            </a:r>
          </a:p>
          <a:p>
            <a:pPr lvl="1"/>
            <a:r>
              <a:rPr lang="en-US" dirty="0"/>
              <a:t>Section 1: Data import, clean and API call.</a:t>
            </a:r>
          </a:p>
          <a:p>
            <a:pPr lvl="1"/>
            <a:r>
              <a:rPr lang="en-US" dirty="0"/>
              <a:t>Section 2: Data analysis.</a:t>
            </a:r>
          </a:p>
        </p:txBody>
      </p:sp>
    </p:spTree>
    <p:extLst>
      <p:ext uri="{BB962C8B-B14F-4D97-AF65-F5344CB8AC3E}">
        <p14:creationId xmlns:p14="http://schemas.microsoft.com/office/powerpoint/2010/main" val="174505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ction 1: Data Import, Clean Up and  API Calls </a:t>
            </a:r>
          </a:p>
        </p:txBody>
      </p:sp>
    </p:spTree>
    <p:extLst>
      <p:ext uri="{BB962C8B-B14F-4D97-AF65-F5344CB8AC3E}">
        <p14:creationId xmlns:p14="http://schemas.microsoft.com/office/powerpoint/2010/main" val="160475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ction 2: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20991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29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ly, we need to establish if there is a trend between household income and rent.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1299B579-D966-4EF4-BBD8-875CD3E272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828" y="2636912"/>
            <a:ext cx="5581154" cy="3348692"/>
          </a:xfrm>
          <a:prstGeom prst="rect">
            <a:avLst/>
          </a:prstGeom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5E9979C-A25F-4E4B-A3DA-7C1C671848DC}"/>
              </a:ext>
            </a:extLst>
          </p:cNvPr>
          <p:cNvSpPr txBox="1">
            <a:spLocks/>
          </p:cNvSpPr>
          <p:nvPr/>
        </p:nvSpPr>
        <p:spPr>
          <a:xfrm>
            <a:off x="6094412" y="2636912"/>
            <a:ext cx="4608512" cy="3348692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relation Coefficient: 0.73</a:t>
            </a:r>
          </a:p>
          <a:p>
            <a:r>
              <a:rPr lang="en-US" sz="1400" dirty="0"/>
              <a:t>There appears to be a relatively strong positive linear relationship between the median household income and rent.</a:t>
            </a:r>
          </a:p>
          <a:p>
            <a:r>
              <a:rPr lang="en-US" sz="1400" dirty="0"/>
              <a:t>Therefore, this would support the idea that those with higher incomes, are more willing to spend on things like rent.</a:t>
            </a:r>
          </a:p>
          <a:p>
            <a:r>
              <a:rPr lang="en-US" sz="1400" dirty="0"/>
              <a:t>Does this translate to their restaurant preferences?</a:t>
            </a:r>
          </a:p>
        </p:txBody>
      </p:sp>
    </p:spTree>
    <p:extLst>
      <p:ext uri="{BB962C8B-B14F-4D97-AF65-F5344CB8AC3E}">
        <p14:creationId xmlns:p14="http://schemas.microsoft.com/office/powerpoint/2010/main" val="142815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bout total household income vs. the average price of restaurants in these suburbs?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5E9979C-A25F-4E4B-A3DA-7C1C671848DC}"/>
              </a:ext>
            </a:extLst>
          </p:cNvPr>
          <p:cNvSpPr txBox="1">
            <a:spLocks/>
          </p:cNvSpPr>
          <p:nvPr/>
        </p:nvSpPr>
        <p:spPr>
          <a:xfrm>
            <a:off x="6094412" y="2636912"/>
            <a:ext cx="4608512" cy="3348692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relation Coefficient: 0.21</a:t>
            </a:r>
          </a:p>
          <a:p>
            <a:r>
              <a:rPr lang="en-US" sz="1400" dirty="0"/>
              <a:t>There appears to be a relatively weak but positive linear relationship between the median household income and price level.</a:t>
            </a:r>
          </a:p>
          <a:p>
            <a:r>
              <a:rPr lang="en-US" sz="1400" dirty="0"/>
              <a:t>This would suggest that they may be a weak tendency to find relatively more expensive restaurants in suburbs which tend to have a higher household income.</a:t>
            </a:r>
          </a:p>
          <a:p>
            <a:r>
              <a:rPr lang="en-US" sz="1400" dirty="0"/>
              <a:t>Of note as well, is that the price levels of restaurants at lower incomes tend to be more dispersed.</a:t>
            </a:r>
          </a:p>
          <a:p>
            <a:r>
              <a:rPr lang="en-US" sz="1400" dirty="0"/>
              <a:t>Is this maybe due to there being more fast food options in lower income suburbs?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2E000A85-503C-4006-B01F-5B05A338A4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59" y="2636912"/>
            <a:ext cx="5581153" cy="3348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10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bout total household income vs. the average rating of these restaurants?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5E9979C-A25F-4E4B-A3DA-7C1C671848DC}"/>
              </a:ext>
            </a:extLst>
          </p:cNvPr>
          <p:cNvSpPr txBox="1">
            <a:spLocks/>
          </p:cNvSpPr>
          <p:nvPr/>
        </p:nvSpPr>
        <p:spPr>
          <a:xfrm>
            <a:off x="6094412" y="2636912"/>
            <a:ext cx="4608512" cy="3348692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relation Coefficient: 0.15</a:t>
            </a:r>
          </a:p>
          <a:p>
            <a:r>
              <a:rPr lang="en-US" sz="1400" dirty="0"/>
              <a:t>There appears to be a relatively weak but positive linear relationship between the median household income and the average ratings of restaurants in that suburb.</a:t>
            </a:r>
          </a:p>
          <a:p>
            <a:r>
              <a:rPr lang="en-US" sz="1400" dirty="0"/>
              <a:t>This may imply that suburbs with a higher disposable income tend to seek a higher quality of meal.</a:t>
            </a:r>
          </a:p>
          <a:p>
            <a:r>
              <a:rPr lang="en-US" sz="1400" dirty="0"/>
              <a:t>Additionally, in the higher income ranges there appears to be a narrow spread of ratings, perhaps supporting the above observation.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918BD0C1-1850-4B87-985E-FE44ACA273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234" y="2636912"/>
            <a:ext cx="5797178" cy="347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83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bout total household income vs. the number of restaurants?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5E9979C-A25F-4E4B-A3DA-7C1C671848DC}"/>
              </a:ext>
            </a:extLst>
          </p:cNvPr>
          <p:cNvSpPr txBox="1">
            <a:spLocks/>
          </p:cNvSpPr>
          <p:nvPr/>
        </p:nvSpPr>
        <p:spPr>
          <a:xfrm>
            <a:off x="6094412" y="2636912"/>
            <a:ext cx="5760640" cy="4068688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relation Coefficient: -0.2</a:t>
            </a:r>
          </a:p>
          <a:p>
            <a:r>
              <a:rPr lang="en-US" sz="1400" dirty="0"/>
              <a:t>There appears to be a relatively weak but negative relationship between the median household income and the number of restaurants.</a:t>
            </a:r>
          </a:p>
          <a:p>
            <a:r>
              <a:rPr lang="en-US" sz="1400" dirty="0"/>
              <a:t>This is somewhat surprising as you would expect there to be higher demand for restaurants provided that these suburbs have a higher capacity to spend.</a:t>
            </a:r>
          </a:p>
          <a:p>
            <a:r>
              <a:rPr lang="en-US" sz="1400" dirty="0"/>
              <a:t>Perhaps it is a greater willingness to travel for food?</a:t>
            </a:r>
          </a:p>
          <a:p>
            <a:r>
              <a:rPr lang="en-US" sz="1400" dirty="0"/>
              <a:t>Less fast-food options? Especially for suburbs with &gt;$2,500 / week.</a:t>
            </a:r>
          </a:p>
          <a:p>
            <a:r>
              <a:rPr lang="en-US" sz="1400" dirty="0"/>
              <a:t>Impact of the 60-result limitation to the API call?</a:t>
            </a:r>
          </a:p>
          <a:p>
            <a:r>
              <a:rPr lang="en-US" sz="1400" dirty="0"/>
              <a:t>Comparison between high income suburbs with city-based professionals, compared to high income, FIFO workers who may not be home and therefore, limits demand on restaurants.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531D7227-8FE2-492D-95AE-99B75F126E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66" y="2636912"/>
            <a:ext cx="5892146" cy="353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18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60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Analys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about population density vs. the total number of reviews reported on restaurants?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5E9979C-A25F-4E4B-A3DA-7C1C671848DC}"/>
              </a:ext>
            </a:extLst>
          </p:cNvPr>
          <p:cNvSpPr txBox="1">
            <a:spLocks/>
          </p:cNvSpPr>
          <p:nvPr/>
        </p:nvSpPr>
        <p:spPr>
          <a:xfrm>
            <a:off x="6094412" y="2636912"/>
            <a:ext cx="5760640" cy="4068688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relation Coefficient: 0.08</a:t>
            </a:r>
          </a:p>
          <a:p>
            <a:r>
              <a:rPr lang="en-US" sz="1400" dirty="0"/>
              <a:t>The correlation coefficient would appear to suggest that there is virtually no relationship between the two variables.</a:t>
            </a:r>
          </a:p>
          <a:p>
            <a:r>
              <a:rPr lang="en-US" sz="1400" dirty="0"/>
              <a:t>However, </a:t>
            </a:r>
            <a:r>
              <a:rPr lang="en-US" sz="1400" dirty="0" err="1"/>
              <a:t>analysing</a:t>
            </a:r>
            <a:r>
              <a:rPr lang="en-US" sz="1400" dirty="0"/>
              <a:t> the data, an inference that could be made is that more densely populated suburbs may be a result of a more family orientated suburb. Potential reasons for this include a) having children may simply reduce the desire to go out for meals and/or b) having children in attendance may reduce the willingness (time) to write a review.</a:t>
            </a:r>
          </a:p>
          <a:p>
            <a:r>
              <a:rPr lang="en-US" sz="1400" dirty="0"/>
              <a:t>Conversely, less densely populated suburbs may be a result of young single professionals choosing to live closer to the CBD and having more time and willingness to review restaurants.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1906A8A6-2299-455A-A351-E3AE48B6E0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85" y="2636912"/>
            <a:ext cx="5640627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0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96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iscussions &amp; Finding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ppears to be some positive correlation between household income, the average price level and ratings of restaurants found in different suburbs. This could be a result of higher household income suburbs having a higher disposition to spend.</a:t>
            </a:r>
          </a:p>
          <a:p>
            <a:r>
              <a:rPr lang="en-US" dirty="0"/>
              <a:t>There is a loose negative trend between household income and the number of restaurants. Perhaps this is due to there being less demand for a variety of cheaper alternatives such as fast-food? Supply and Demand?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64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819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or Future Conside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ider the average household size in some of the analysis.</a:t>
            </a:r>
          </a:p>
          <a:p>
            <a:r>
              <a:rPr lang="en-US" dirty="0"/>
              <a:t>Fast food restaurants may potentially distort some of the results.</a:t>
            </a:r>
          </a:p>
          <a:p>
            <a:pPr lvl="1"/>
            <a:r>
              <a:rPr lang="en-US" dirty="0"/>
              <a:t>For future analysis, we may consider to re-plot the data excluding fast-food chains to see if this results in stronger or weaker relationships.</a:t>
            </a:r>
          </a:p>
          <a:p>
            <a:r>
              <a:rPr lang="en-US" dirty="0"/>
              <a:t>Find a way (alternative APIs) which may not have similar limitations to that of Google.</a:t>
            </a:r>
          </a:p>
        </p:txBody>
      </p:sp>
    </p:spTree>
    <p:extLst>
      <p:ext uri="{BB962C8B-B14F-4D97-AF65-F5344CB8AC3E}">
        <p14:creationId xmlns:p14="http://schemas.microsoft.com/office/powerpoint/2010/main" val="144118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574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ith restaurants in Perth, are there links which can be derived between certain characteristics of eateries relative to typical socio-economic factors such as age, gender, income. </a:t>
            </a:r>
          </a:p>
          <a:p>
            <a:r>
              <a:rPr lang="en-US" dirty="0"/>
              <a:t>Further, are there inferences which can be made about different suburbs in Perth and their socio-economic data.</a:t>
            </a:r>
          </a:p>
        </p:txBody>
      </p:sp>
    </p:spTree>
    <p:extLst>
      <p:ext uri="{BB962C8B-B14F-4D97-AF65-F5344CB8AC3E}">
        <p14:creationId xmlns:p14="http://schemas.microsoft.com/office/powerpoint/2010/main" val="204134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explore these questions, we aim to explore the following questions:</a:t>
            </a:r>
          </a:p>
          <a:p>
            <a:pPr lvl="1"/>
            <a:r>
              <a:rPr lang="en-US" dirty="0"/>
              <a:t>Is there a link between household income and a willingness to dispense with that income?</a:t>
            </a:r>
          </a:p>
          <a:p>
            <a:pPr lvl="1"/>
            <a:r>
              <a:rPr lang="en-US" dirty="0"/>
              <a:t>If there is a link, does this also translate to food spending habits?</a:t>
            </a:r>
          </a:p>
          <a:p>
            <a:pPr lvl="1"/>
            <a:r>
              <a:rPr lang="en-US" dirty="0"/>
              <a:t>Is there a relationship between the number of restaurants and the median household income?</a:t>
            </a:r>
          </a:p>
          <a:p>
            <a:pPr lvl="1"/>
            <a:r>
              <a:rPr lang="en-US" dirty="0"/>
              <a:t>What about population density and the number of reviews?</a:t>
            </a:r>
          </a:p>
          <a:p>
            <a:pPr lvl="1"/>
            <a:r>
              <a:rPr lang="en-US" dirty="0"/>
              <a:t>Given the previous two questions, what may this infer about the accuracy or interpretation of restaurants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1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5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Sourc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data sources used to compile this study include:</a:t>
            </a:r>
          </a:p>
          <a:p>
            <a:pPr lvl="1"/>
            <a:r>
              <a:rPr lang="en-US" dirty="0"/>
              <a:t>WA Census Data – 2016 Census GCP State Suburbs for WA (</a:t>
            </a:r>
            <a:r>
              <a:rPr lang="en-US" dirty="0">
                <a:hlinkClick r:id="rId6"/>
              </a:rPr>
              <a:t>https://www.abs.gov.au/census/find-census-data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WA Perth Metro Housing Price Data (</a:t>
            </a:r>
            <a:r>
              <a:rPr lang="en-US" dirty="0">
                <a:hlinkClick r:id="rId7"/>
              </a:rPr>
              <a:t>https://www.kaggle.com/syuzai/perth-house-prices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Google Places API – to source restaurant information using suburb information (</a:t>
            </a:r>
            <a:r>
              <a:rPr lang="en-US" dirty="0">
                <a:hlinkClick r:id="rId8"/>
              </a:rPr>
              <a:t>Overview  |  Places API  |  Google Developers</a:t>
            </a:r>
            <a:r>
              <a:rPr lang="en-US" dirty="0"/>
              <a:t>)</a:t>
            </a:r>
          </a:p>
          <a:p>
            <a:pPr lvl="2"/>
            <a:r>
              <a:rPr lang="en-US" dirty="0"/>
              <a:t>Using the </a:t>
            </a:r>
            <a:r>
              <a:rPr lang="en-US" dirty="0" err="1"/>
              <a:t>textsearch</a:t>
            </a:r>
            <a:r>
              <a:rPr lang="en-US" dirty="0"/>
              <a:t> forma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91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Sourc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A Census Data:</a:t>
            </a:r>
          </a:p>
          <a:p>
            <a:pPr lvl="1"/>
            <a:r>
              <a:rPr lang="en-US" dirty="0"/>
              <a:t>Had to reconcile Census_Code_2016 suburb coding to WA postcodes and suburb names.</a:t>
            </a:r>
          </a:p>
          <a:p>
            <a:pPr lvl="1"/>
            <a:r>
              <a:rPr lang="en-US" dirty="0"/>
              <a:t>Had to consolidate a range of socio-economic indicators through the various catalogues published through the data source.</a:t>
            </a:r>
          </a:p>
          <a:p>
            <a:pPr lvl="1"/>
            <a:r>
              <a:rPr lang="en-US" dirty="0"/>
              <a:t>Limitation that the last census was completed in 2016 and subsequently, some suburbs have experienced some gentrification which may impact the analysis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1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Sourc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A Perth Metro Housing Price Data:</a:t>
            </a:r>
          </a:p>
          <a:p>
            <a:pPr lvl="1"/>
            <a:r>
              <a:rPr lang="en-US" dirty="0"/>
              <a:t>Data set was scraped from </a:t>
            </a:r>
            <a:r>
              <a:rPr lang="en-US" dirty="0">
                <a:hlinkClick r:id="rId6"/>
              </a:rPr>
              <a:t>http://house.speakingsame.com/</a:t>
            </a:r>
            <a:r>
              <a:rPr lang="en-US" dirty="0"/>
              <a:t> and includes housing sale data for ~322 Perth suburbs.</a:t>
            </a:r>
          </a:p>
          <a:p>
            <a:r>
              <a:rPr lang="en-US" dirty="0"/>
              <a:t>Google Places API:</a:t>
            </a:r>
          </a:p>
          <a:p>
            <a:pPr lvl="1"/>
            <a:r>
              <a:rPr lang="en-US" dirty="0"/>
              <a:t>Initial plan was to use the Zomato API, but this is no longer available.</a:t>
            </a:r>
          </a:p>
          <a:p>
            <a:pPr lvl="1"/>
            <a:r>
              <a:rPr lang="en-US" dirty="0"/>
              <a:t>Google Places API limited to 3 pages of results with 20 results per page.</a:t>
            </a:r>
          </a:p>
          <a:p>
            <a:pPr lvl="1"/>
            <a:r>
              <a:rPr lang="en-US" dirty="0"/>
              <a:t>Some suburbs may have in excess of 60 restaurants which may distort some of the average statistics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13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42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tunately, majority of the data sources provided sufficiently clean data to commence analysis.</a:t>
            </a:r>
          </a:p>
          <a:p>
            <a:r>
              <a:rPr lang="en-US" dirty="0"/>
              <a:t>Census data was scattered across multiple sheets and tables.</a:t>
            </a:r>
          </a:p>
          <a:p>
            <a:pPr lvl="1"/>
            <a:r>
              <a:rPr lang="en-US" dirty="0"/>
              <a:t>Manual reconciliation of key data was required into a singular CSV file.</a:t>
            </a:r>
          </a:p>
          <a:p>
            <a:pPr lvl="1"/>
            <a:r>
              <a:rPr lang="en-US" dirty="0"/>
              <a:t>Completed primarily with the use of Excel’s XLOOPUP function.</a:t>
            </a:r>
          </a:p>
          <a:p>
            <a:pPr lvl="1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268E3CB-8059-440F-88ED-6842D15A23F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0877"/>
          <a:stretch/>
        </p:blipFill>
        <p:spPr>
          <a:xfrm>
            <a:off x="1218881" y="4453516"/>
            <a:ext cx="5551429" cy="180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24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using price data was provided with a range of specific house characteristics which were not required for this analysis.</a:t>
            </a:r>
          </a:p>
          <a:p>
            <a:pPr lvl="1"/>
            <a:r>
              <a:rPr lang="en-US" dirty="0"/>
              <a:t>As such, a clean operation on this data set was completed to only contain the pric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55E5DD-B060-40AF-BDD5-E1A5DBCB91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9289" y="3650079"/>
            <a:ext cx="5551022" cy="1862097"/>
          </a:xfrm>
          <a:prstGeom prst="rect">
            <a:avLst/>
          </a:prstGeom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FEACD469-D3E3-4E80-87A9-22B8DFD31DE0}"/>
              </a:ext>
            </a:extLst>
          </p:cNvPr>
          <p:cNvSpPr txBox="1">
            <a:spLocks/>
          </p:cNvSpPr>
          <p:nvPr/>
        </p:nvSpPr>
        <p:spPr>
          <a:xfrm>
            <a:off x="1218882" y="5512176"/>
            <a:ext cx="4352031" cy="1743472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Before Clean.</a:t>
            </a:r>
          </a:p>
          <a:p>
            <a:r>
              <a:rPr lang="en-US" sz="1400" dirty="0"/>
              <a:t>N.B: NORTH_SOUTH determination of suburb was based on Lat / </a:t>
            </a:r>
            <a:r>
              <a:rPr lang="en-US" sz="1400" dirty="0" err="1"/>
              <a:t>Lng</a:t>
            </a:r>
            <a:r>
              <a:rPr lang="en-US" sz="1400" dirty="0"/>
              <a:t> co-ordinates to the Perth CB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DB0203-F6AB-4B2C-AA11-9D3E5E323B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2483" y="3650079"/>
            <a:ext cx="4263223" cy="1862097"/>
          </a:xfrm>
          <a:prstGeom prst="rect">
            <a:avLst/>
          </a:prstGeom>
        </p:spPr>
      </p:pic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B74D150-A1E2-4C49-BCAE-D28784D71D93}"/>
              </a:ext>
            </a:extLst>
          </p:cNvPr>
          <p:cNvSpPr txBox="1">
            <a:spLocks/>
          </p:cNvSpPr>
          <p:nvPr/>
        </p:nvSpPr>
        <p:spPr>
          <a:xfrm>
            <a:off x="6770311" y="5512176"/>
            <a:ext cx="4352031" cy="1743472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After Clean, with median house prices calculated.</a:t>
            </a:r>
          </a:p>
        </p:txBody>
      </p:sp>
    </p:spTree>
    <p:extLst>
      <p:ext uri="{BB962C8B-B14F-4D97-AF65-F5344CB8AC3E}">
        <p14:creationId xmlns:p14="http://schemas.microsoft.com/office/powerpoint/2010/main" val="37659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BA8223-D091-4BBA-BE24-C16362DE70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BA8223-D091-4BBA-BE24-C16362DE7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Cleanup and Explor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y difficulty encountered with Google API.</a:t>
            </a:r>
          </a:p>
          <a:p>
            <a:pPr lvl="1"/>
            <a:r>
              <a:rPr lang="en-US" dirty="0"/>
              <a:t>Google API relies on a </a:t>
            </a:r>
            <a:r>
              <a:rPr lang="en-US" dirty="0" err="1"/>
              <a:t>pagetoken</a:t>
            </a:r>
            <a:r>
              <a:rPr lang="en-US" dirty="0"/>
              <a:t> parameter which has to be fed back into the query to get the results of which new page contained within the initial base cal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DCD57C-DBE6-4192-A73F-6226433AE6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8882" y="3212976"/>
            <a:ext cx="4724968" cy="2863468"/>
          </a:xfrm>
          <a:prstGeom prst="rect">
            <a:avLst/>
          </a:prstGeom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39299199-CDBF-4FB9-9FB4-FD848EE5B08E}"/>
              </a:ext>
            </a:extLst>
          </p:cNvPr>
          <p:cNvSpPr txBox="1">
            <a:spLocks/>
          </p:cNvSpPr>
          <p:nvPr/>
        </p:nvSpPr>
        <p:spPr>
          <a:xfrm>
            <a:off x="6094412" y="3212976"/>
            <a:ext cx="4352031" cy="2863468"/>
          </a:xfrm>
          <a:prstGeom prst="rect">
            <a:avLst/>
          </a:prstGeom>
        </p:spPr>
        <p:txBody>
          <a:bodyPr vert="horz" lIns="121899" tIns="60949" rIns="121899" bIns="60949" rtlCol="0">
            <a:normAutofit lnSpcReduction="10000"/>
          </a:bodyPr>
          <a:lstStyle>
            <a:lvl1pPr marL="304747" indent="-304747" algn="l" defTabSz="1218987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772" indent="-304747" algn="l" defTabSz="121898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67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8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88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87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1089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1922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12947" indent="-304747" algn="l" defTabSz="121898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pagetoken</a:t>
            </a:r>
            <a:r>
              <a:rPr lang="en-US" sz="1400" dirty="0"/>
              <a:t> parameter contained in the first response of the query.</a:t>
            </a:r>
          </a:p>
          <a:p>
            <a:r>
              <a:rPr lang="en-US" sz="1400" dirty="0"/>
              <a:t>To obtain up to the API maximum of 60 results, the </a:t>
            </a:r>
            <a:r>
              <a:rPr lang="en-US" sz="1400" dirty="0" err="1"/>
              <a:t>pagetoken</a:t>
            </a:r>
            <a:r>
              <a:rPr lang="en-US" sz="1400" dirty="0"/>
              <a:t> parameter has to be taken, and placed at the end of the initial query up to 2 more times.</a:t>
            </a:r>
          </a:p>
          <a:p>
            <a:r>
              <a:rPr lang="en-US" sz="1400" dirty="0"/>
              <a:t>The limit of 60 results cannot be overcome and may consequently distort the analysis as there may be suburbs with &gt; 60 restaurants in turn affecting their min / max values in the analysis.</a:t>
            </a:r>
          </a:p>
          <a:p>
            <a:r>
              <a:rPr lang="en-US" sz="1400" dirty="0"/>
              <a:t>Using average measures may limit this distortion. </a:t>
            </a:r>
          </a:p>
        </p:txBody>
      </p:sp>
    </p:spTree>
    <p:extLst>
      <p:ext uri="{BB962C8B-B14F-4D97-AF65-F5344CB8AC3E}">
        <p14:creationId xmlns:p14="http://schemas.microsoft.com/office/powerpoint/2010/main" val="193430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oking 16x9">
  <a:themeElements>
    <a:clrScheme name="Cooking_16x9">
      <a:dk1>
        <a:srgbClr val="000000"/>
      </a:dk1>
      <a:lt1>
        <a:sysClr val="window" lastClr="FFFFFF"/>
      </a:lt1>
      <a:dk2>
        <a:srgbClr val="7F7F7F"/>
      </a:dk2>
      <a:lt2>
        <a:srgbClr val="E6E6E6"/>
      </a:lt2>
      <a:accent1>
        <a:srgbClr val="89C01C"/>
      </a:accent1>
      <a:accent2>
        <a:srgbClr val="FCB22C"/>
      </a:accent2>
      <a:accent3>
        <a:srgbClr val="FE750E"/>
      </a:accent3>
      <a:accent4>
        <a:srgbClr val="F23610"/>
      </a:accent4>
      <a:accent5>
        <a:srgbClr val="7C283A"/>
      </a:accent5>
      <a:accent6>
        <a:srgbClr val="3E7520"/>
      </a:accent6>
      <a:hlink>
        <a:srgbClr val="89C01C"/>
      </a:hlink>
      <a:folHlink>
        <a:srgbClr val="A6A6A6"/>
      </a:folHlink>
    </a:clrScheme>
    <a:fontScheme name="Constantia">
      <a:maj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1Subtle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l="180000" t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esh food presentation (widescreen).potx" id="{63DD3034-9CB5-4B6F-BCA0-530A5E267AB2}" vid="{9783A5E3-1DF2-4F3C-8902-0C2EB8A188D6}"/>
    </a:ext>
  </a:extLst>
</a:theme>
</file>

<file path=ppt/theme/theme2.xml><?xml version="1.0" encoding="utf-8"?>
<a:theme xmlns:a="http://schemas.openxmlformats.org/drawingml/2006/main" name="Office Theme">
  <a:themeElements>
    <a:clrScheme name="Cooking_16x9">
      <a:dk1>
        <a:srgbClr val="000000"/>
      </a:dk1>
      <a:lt1>
        <a:sysClr val="window" lastClr="FFFFFF"/>
      </a:lt1>
      <a:dk2>
        <a:srgbClr val="7F7F7F"/>
      </a:dk2>
      <a:lt2>
        <a:srgbClr val="E6E6E6"/>
      </a:lt2>
      <a:accent1>
        <a:srgbClr val="89C01C"/>
      </a:accent1>
      <a:accent2>
        <a:srgbClr val="FCB22C"/>
      </a:accent2>
      <a:accent3>
        <a:srgbClr val="FE750E"/>
      </a:accent3>
      <a:accent4>
        <a:srgbClr val="F23610"/>
      </a:accent4>
      <a:accent5>
        <a:srgbClr val="7C283A"/>
      </a:accent5>
      <a:accent6>
        <a:srgbClr val="3E7520"/>
      </a:accent6>
      <a:hlink>
        <a:srgbClr val="89C01C"/>
      </a:hlink>
      <a:folHlink>
        <a:srgbClr val="A6A6A6"/>
      </a:folHlink>
    </a:clrScheme>
    <a:fontScheme name="Constantia">
      <a:maj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1Subtle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l="180000" t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ooking_16x9">
      <a:dk1>
        <a:srgbClr val="000000"/>
      </a:dk1>
      <a:lt1>
        <a:sysClr val="window" lastClr="FFFFFF"/>
      </a:lt1>
      <a:dk2>
        <a:srgbClr val="7F7F7F"/>
      </a:dk2>
      <a:lt2>
        <a:srgbClr val="E6E6E6"/>
      </a:lt2>
      <a:accent1>
        <a:srgbClr val="89C01C"/>
      </a:accent1>
      <a:accent2>
        <a:srgbClr val="FCB22C"/>
      </a:accent2>
      <a:accent3>
        <a:srgbClr val="FE750E"/>
      </a:accent3>
      <a:accent4>
        <a:srgbClr val="F23610"/>
      </a:accent4>
      <a:accent5>
        <a:srgbClr val="7C283A"/>
      </a:accent5>
      <a:accent6>
        <a:srgbClr val="3E7520"/>
      </a:accent6>
      <a:hlink>
        <a:srgbClr val="89C01C"/>
      </a:hlink>
      <a:folHlink>
        <a:srgbClr val="A6A6A6"/>
      </a:folHlink>
    </a:clrScheme>
    <a:fontScheme name="Constantia">
      <a:maj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1Subtle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l="180000" t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SO_x0020_item_x0020_id xmlns="40262f94-9f35-4ac3-9a90-690165a166b7" xsi:nil="true"/>
    <Assetid_x0020_ xmlns="40262f94-9f35-4ac3-9a90-690165a166b7" xsi:nil="true"/>
    <Item_x0020_Details xmlns="40262f94-9f35-4ac3-9a90-690165a166b7" xsi:nil="true"/>
    <Template_x0020_details xmlns="40262f94-9f35-4ac3-9a90-690165a166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F7D94069FF64A86F7DFF56D60E3BE" ma:contentTypeVersion="6" ma:contentTypeDescription="Create a new document." ma:contentTypeScope="" ma:versionID="c32302c77d4085ecf495bdddb7f5e889">
  <xsd:schema xmlns:xsd="http://www.w3.org/2001/XMLSchema" xmlns:xs="http://www.w3.org/2001/XMLSchema" xmlns:p="http://schemas.microsoft.com/office/2006/metadata/properties" xmlns:ns2="a4f35948-e619-41b3-aa29-22878b09cfd2" xmlns:ns3="40262f94-9f35-4ac3-9a90-690165a166b7" targetNamespace="http://schemas.microsoft.com/office/2006/metadata/properties" ma:root="true" ma:fieldsID="4ab5ae46be95f9d0be6107e8200be7a2" ns2:_="" ns3:_="">
    <xsd:import namespace="a4f35948-e619-41b3-aa29-22878b09cfd2"/>
    <xsd:import namespace="40262f94-9f35-4ac3-9a90-690165a166b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VSO_x0020_item_x0020_id" minOccurs="0"/>
                <xsd:element ref="ns3:Item_x0020_Details" minOccurs="0"/>
                <xsd:element ref="ns3:Template_x0020_details" minOccurs="0"/>
                <xsd:element ref="ns3:Assetid_x002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f35948-e619-41b3-aa29-22878b09cfd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262f94-9f35-4ac3-9a90-690165a166b7" elementFormDefault="qualified">
    <xsd:import namespace="http://schemas.microsoft.com/office/2006/documentManagement/types"/>
    <xsd:import namespace="http://schemas.microsoft.com/office/infopath/2007/PartnerControls"/>
    <xsd:element name="VSO_x0020_item_x0020_id" ma:index="10" nillable="true" ma:displayName="VSO item id" ma:description="Please add the bug number to refer to VSO items." ma:internalName="VSO_x0020_item_x0020_id">
      <xsd:simpleType>
        <xsd:restriction base="dms:Text">
          <xsd:maxLength value="255"/>
        </xsd:restriction>
      </xsd:simpleType>
    </xsd:element>
    <xsd:element name="Item_x0020_Details" ma:index="11" nillable="true" ma:displayName="Item Details" ma:internalName="Item_x0020_Details">
      <xsd:simpleType>
        <xsd:restriction base="dms:Note">
          <xsd:maxLength value="255"/>
        </xsd:restriction>
      </xsd:simpleType>
    </xsd:element>
    <xsd:element name="Template_x0020_details" ma:index="12" nillable="true" ma:displayName="Template details" ma:internalName="Template_x0020_details">
      <xsd:simpleType>
        <xsd:restriction base="dms:Text"/>
      </xsd:simpleType>
    </xsd:element>
    <xsd:element name="Assetid_x0020_" ma:index="13" nillable="true" ma:displayName="Assetid " ma:internalName="Assetid_x0020_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700CCB-20BA-4760-AB9F-AC3B63ED32E0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40262f94-9f35-4ac3-9a90-690165a166b7"/>
    <ds:schemaRef ds:uri="a4f35948-e619-41b3-aa29-22878b09cfd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B14945D-DABB-422F-9B28-D299995C92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f35948-e619-41b3-aa29-22878b09cfd2"/>
    <ds:schemaRef ds:uri="40262f94-9f35-4ac3-9a90-690165a166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08942AA-0721-4324-BC2C-A3CB43F24E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resh food presentation (widescreen)</Template>
  <TotalTime>159</TotalTime>
  <Words>1406</Words>
  <Application>Microsoft Office PowerPoint</Application>
  <PresentationFormat>Custom</PresentationFormat>
  <Paragraphs>102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onstantia</vt:lpstr>
      <vt:lpstr>Cooking 16x9</vt:lpstr>
      <vt:lpstr>think-cell Slide</vt:lpstr>
      <vt:lpstr>The Perth Restaurant Industry</vt:lpstr>
      <vt:lpstr>Executive Summary</vt:lpstr>
      <vt:lpstr>Executive Summary</vt:lpstr>
      <vt:lpstr>Data Sources</vt:lpstr>
      <vt:lpstr>Data Sources</vt:lpstr>
      <vt:lpstr>Data Sources</vt:lpstr>
      <vt:lpstr>Data Cleanup and Exploration</vt:lpstr>
      <vt:lpstr>Data Cleanup and Exploration</vt:lpstr>
      <vt:lpstr>Data Cleanup and Exploration</vt:lpstr>
      <vt:lpstr>Data Cleanup and Exploration</vt:lpstr>
      <vt:lpstr>Data Cleanup and Exploration</vt:lpstr>
      <vt:lpstr>Data Cleanup and Exploration</vt:lpstr>
      <vt:lpstr>Data Analysis</vt:lpstr>
      <vt:lpstr>Data Analysis</vt:lpstr>
      <vt:lpstr>Data Analysis</vt:lpstr>
      <vt:lpstr>Data Analysis</vt:lpstr>
      <vt:lpstr>Data Analysis</vt:lpstr>
      <vt:lpstr>Discussions &amp; Findings</vt:lpstr>
      <vt:lpstr>For Future Consider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Perth Restaurant Industry</dc:title>
  <dc:creator>Vella, Matt (Rivervale) AUS</dc:creator>
  <cp:lastModifiedBy>Vella, Matt (Rivervale) AUS</cp:lastModifiedBy>
  <cp:revision>6</cp:revision>
  <dcterms:created xsi:type="dcterms:W3CDTF">2021-05-03T11:08:32Z</dcterms:created>
  <dcterms:modified xsi:type="dcterms:W3CDTF">2021-05-03T13:4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nternalTags">
    <vt:lpwstr/>
  </property>
  <property fmtid="{D5CDD505-2E9C-101B-9397-08002B2CF9AE}" pid="3" name="ContentTypeId">
    <vt:lpwstr>0x010100AA3F7D94069FF64A86F7DFF56D60E3BE</vt:lpwstr>
  </property>
  <property fmtid="{D5CDD505-2E9C-101B-9397-08002B2CF9AE}" pid="4" name="FeatureTags">
    <vt:lpwstr/>
  </property>
  <property fmtid="{D5CDD505-2E9C-101B-9397-08002B2CF9AE}" pid="5" name="LocalizationTags">
    <vt:lpwstr/>
  </property>
  <property fmtid="{D5CDD505-2E9C-101B-9397-08002B2CF9AE}" pid="6" name="CampaignTags">
    <vt:lpwstr/>
  </property>
  <property fmtid="{D5CDD505-2E9C-101B-9397-08002B2CF9AE}" pid="7" name="ScenarioTags">
    <vt:lpwstr/>
  </property>
</Properties>
</file>